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2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8A8A8"/>
    <a:srgbClr val="F6F6F6"/>
    <a:srgbClr val="444444"/>
    <a:srgbClr val="E5E5E5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08:20:31.361" v="5" actId="27918"/>
      <pc:docMkLst>
        <pc:docMk/>
      </pc:docMkLst>
      <pc:sldChg chg="mod">
        <pc:chgData name="Weigel Stefan (PAR-EPS)" userId="fd3b2067-2981-4ad8-bf3a-d2e1004e4fa8" providerId="ADAL" clId="{A4CFA2F4-FF8D-446B-B271-6DF568DBEADA}" dt="2026-02-12T08:20:31.361" v="5" actId="27918"/>
        <pc:sldMkLst>
          <pc:docMk/>
          <pc:sldMk cId="3613367002" sldId="402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6208917430735263E-2"/>
          <c:y val="0.13279676246680386"/>
          <c:w val="0.90365307677911244"/>
          <c:h val="0.6684462983211616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Risultato consolidato</c:v>
                </c:pt>
              </c:strCache>
            </c:strRef>
          </c:tx>
          <c:spPr>
            <a:solidFill>
              <a:srgbClr val="A8A8A8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A8A8A8"/>
              </a:solidFill>
            </c:spPr>
            <c:extLst>
              <c:ext xmlns:c16="http://schemas.microsoft.com/office/drawing/2014/chart" uri="{C3380CC4-5D6E-409C-BE32-E72D297353CC}">
                <c16:uniqueId val="{00000009-BF2A-4774-B694-5AFB2344A678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BF2A-4774-B694-5AFB2344A678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BF2A-4774-B694-5AFB2344A678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BF2A-4774-B694-5AFB2344A678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BF2A-4774-B694-5AFB2344A678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BF2A-4774-B694-5AFB2344A678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BF2A-4774-B694-5AFB2344A678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BF2A-4774-B694-5AFB2344A678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F2A-4774-B694-5AFB2344A678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F2A-4774-B694-5AFB2344A678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1-62E8-444B-A150-582B1759E386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C$9:$C$19</c:f>
              <c:numCache>
                <c:formatCode>0.0</c:formatCode>
                <c:ptCount val="11"/>
                <c:pt idx="0">
                  <c:v>245.66372648999999</c:v>
                </c:pt>
                <c:pt idx="1">
                  <c:v>380.637372325878</c:v>
                </c:pt>
                <c:pt idx="2">
                  <c:v>398.95878820453299</c:v>
                </c:pt>
                <c:pt idx="3">
                  <c:v>568.40585356027998</c:v>
                </c:pt>
                <c:pt idx="4">
                  <c:v>463.48435327405701</c:v>
                </c:pt>
                <c:pt idx="5">
                  <c:v>-617.01844565235501</c:v>
                </c:pt>
                <c:pt idx="6">
                  <c:v>-325.330509616754</c:v>
                </c:pt>
                <c:pt idx="7">
                  <c:v>-245.36702553034399</c:v>
                </c:pt>
                <c:pt idx="8">
                  <c:v>266.53405112842398</c:v>
                </c:pt>
                <c:pt idx="9">
                  <c:v>275.00206181303503</c:v>
                </c:pt>
                <c:pt idx="10">
                  <c:v>495.578889165186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2E8-444B-A150-582B1759E3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8999424"/>
        <c:axId val="129000960"/>
      </c:barChart>
      <c:catAx>
        <c:axId val="128999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29000960"/>
        <c:crosses val="autoZero"/>
        <c:auto val="1"/>
        <c:lblAlgn val="ctr"/>
        <c:lblOffset val="100"/>
        <c:noMultiLvlLbl val="0"/>
      </c:catAx>
      <c:valAx>
        <c:axId val="129000960"/>
        <c:scaling>
          <c:orientation val="minMax"/>
          <c:max val="800"/>
          <c:min val="-80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##0;\−#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28999424"/>
        <c:crosses val="autoZero"/>
        <c:crossBetween val="between"/>
        <c:majorUnit val="20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.02239</cdr:y>
    </cdr:from>
    <cdr:to>
      <cdr:x>0.0858</cdr:x>
      <cdr:y>0.08288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0" y="89566"/>
          <a:ext cx="790848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/>
            <a:t>Mio. di </a:t>
          </a:r>
          <a:r>
            <a:rPr lang="de-CH" sz="1100" dirty="0">
              <a:solidFill>
                <a:srgbClr val="444444"/>
              </a:solidFill>
            </a:rPr>
            <a:t>CHF</a:t>
          </a:r>
          <a:endParaRPr lang="de-CH" sz="1100" dirty="0">
            <a:solidFill>
              <a:srgbClr val="444444"/>
            </a:solidFill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07749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2.xml"/><Relationship Id="rId1" Type="http://schemas.openxmlformats.org/officeDocument/2006/relationships/tags" Target="../tags/tag4.xml"/><Relationship Id="rId6" Type="http://schemas.openxmlformats.org/officeDocument/2006/relationships/chart" Target="../charts/chart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2046CFF-74E2-4454-B6E3-B6BB8B051F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59" progId="TCLayout.ActiveDocument.1">
                  <p:embed/>
                </p:oleObj>
              </mc:Choice>
              <mc:Fallback>
                <p:oleObj name="think-cell Folie" r:id="rId4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2046CFF-74E2-4454-B6E3-B6BB8B051F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CH" dirty="0"/>
              <a:t>Risultato consolidato FFS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467692216"/>
              </p:ext>
            </p:extLst>
          </p:nvPr>
        </p:nvGraphicFramePr>
        <p:xfrm>
          <a:off x="1487488" y="1875484"/>
          <a:ext cx="9217025" cy="40002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2279650" y="6084295"/>
            <a:ext cx="6921695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8B4B6626-9A0F-4741-8F83-BF160AB040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6133670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96e82a89-ba48-4728-b345-cf206dbec8f1"/>
    <ds:schemaRef ds:uri="2f5c8543-cf23-4718-a3b8-32b0a91d511a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02205A7D-DD2A-4A07-B338-1E41D1BEBB7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7</Words>
  <Application>Microsoft Office PowerPoint</Application>
  <PresentationFormat>Breitbild</PresentationFormat>
  <Paragraphs>5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Risultato consolidato FFS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isultato consolidato FFS.</dc:title>
  <dc:creator>Meyer Raphael (KOM-PGA-VSF)</dc:creator>
  <cp:lastModifiedBy>Weigel Stefan (PAR-EPS)</cp:lastModifiedBy>
  <cp:revision>58</cp:revision>
  <dcterms:created xsi:type="dcterms:W3CDTF">2020-09-30T11:00:09Z</dcterms:created>
  <dcterms:modified xsi:type="dcterms:W3CDTF">2026-03-03T13:13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